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461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24"/>
  </p:normalViewPr>
  <p:slideViewPr>
    <p:cSldViewPr snapToGrid="0">
      <p:cViewPr varScale="1">
        <p:scale>
          <a:sx n="82" d="100"/>
          <a:sy n="82" d="100"/>
        </p:scale>
        <p:origin x="86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Arola" userId="7602816b-230a-426e-8eaf-9f7c32eee040" providerId="ADAL" clId="{B4EEFA14-C639-43E9-8538-84DEEA97DC56}"/>
    <pc:docChg chg="modSld">
      <pc:chgData name="Xavier Arola" userId="7602816b-230a-426e-8eaf-9f7c32eee040" providerId="ADAL" clId="{B4EEFA14-C639-43E9-8538-84DEEA97DC56}" dt="2025-06-17T14:15:27.767" v="0" actId="1076"/>
      <pc:docMkLst>
        <pc:docMk/>
      </pc:docMkLst>
      <pc:sldChg chg="modSp mod">
        <pc:chgData name="Xavier Arola" userId="7602816b-230a-426e-8eaf-9f7c32eee040" providerId="ADAL" clId="{B4EEFA14-C639-43E9-8538-84DEEA97DC56}" dt="2025-06-17T14:15:27.767" v="0" actId="1076"/>
        <pc:sldMkLst>
          <pc:docMk/>
          <pc:sldMk cId="1530558930" sldId="461"/>
        </pc:sldMkLst>
        <pc:spChg chg="mod">
          <ac:chgData name="Xavier Arola" userId="7602816b-230a-426e-8eaf-9f7c32eee040" providerId="ADAL" clId="{B4EEFA14-C639-43E9-8538-84DEEA97DC56}" dt="2025-06-17T14:15:27.767" v="0" actId="1076"/>
          <ac:spMkLst>
            <pc:docMk/>
            <pc:sldMk cId="1530558930" sldId="461"/>
            <ac:spMk id="4" creationId="{C96DD53E-0DF1-459C-A325-AB1131EF82F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17/06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-233166" y="1441089"/>
            <a:ext cx="9922476" cy="28007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 dirty="0">
                <a:solidFill>
                  <a:srgbClr val="2A2A2A"/>
                </a:solidFill>
                <a:latin typeface="Arial"/>
                <a:cs typeface="Arial"/>
              </a:rPr>
              <a:t>EXERCISE 1) DEFINE YOUR WHY</a:t>
            </a:r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0558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pportunity analysis ppt 1" id="{34C05EFA-C261-A84D-B935-9AFCBD159EE1}" vid="{C2A0FA48-17F3-C446-BDF7-1C4A8EAFE4B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0C1A167-6750-4870-AA9D-55DD27133C76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portunity analysis ppt 1</Template>
  <TotalTime>0</TotalTime>
  <Words>9</Words>
  <Application>Microsoft Office PowerPoint</Application>
  <PresentationFormat>Panorámica</PresentationFormat>
  <Paragraphs>8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e Office</vt:lpstr>
      <vt:lpstr>Diapositiva de think-cell</vt:lpstr>
      <vt:lpstr>Opportunity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Xavier Arola</dc:creator>
  <cp:lastModifiedBy>Xavier Arola</cp:lastModifiedBy>
  <cp:revision>2</cp:revision>
  <dcterms:created xsi:type="dcterms:W3CDTF">2022-06-14T08:44:01Z</dcterms:created>
  <dcterms:modified xsi:type="dcterms:W3CDTF">2025-06-17T14:1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